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12"/>
  </p:notesMasterIdLst>
  <p:sldIdLst>
    <p:sldId id="294" r:id="rId2"/>
    <p:sldId id="296" r:id="rId3"/>
    <p:sldId id="297" r:id="rId4"/>
    <p:sldId id="301" r:id="rId5"/>
    <p:sldId id="306" r:id="rId6"/>
    <p:sldId id="300" r:id="rId7"/>
    <p:sldId id="304" r:id="rId8"/>
    <p:sldId id="299" r:id="rId9"/>
    <p:sldId id="298" r:id="rId10"/>
    <p:sldId id="305" r:id="rId11"/>
  </p:sldIdLst>
  <p:sldSz cx="6858000" cy="9906000" type="A4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12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025" autoAdjust="0"/>
    <p:restoredTop sz="94660"/>
  </p:normalViewPr>
  <p:slideViewPr>
    <p:cSldViewPr snapToGrid="0" showGuides="1">
      <p:cViewPr varScale="1">
        <p:scale>
          <a:sx n="81" d="100"/>
          <a:sy n="81" d="100"/>
        </p:scale>
        <p:origin x="3210" y="102"/>
      </p:cViewPr>
      <p:guideLst>
        <p:guide orient="horz" pos="3120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8" d="100"/>
          <a:sy n="88" d="100"/>
        </p:scale>
        <p:origin x="3360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AA1533-5E05-4647-BC91-535B12699620}" type="datetimeFigureOut">
              <a:rPr lang="ko-KR" altLang="en-US" smtClean="0"/>
              <a:t>2020-01-11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2360613" y="1143000"/>
            <a:ext cx="213677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CA3886E-16A7-4F9C-903C-033E59334DD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618970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621191"/>
            <a:ext cx="5829300" cy="3448756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ko-KR" altLang="en-US" smtClean="0"/>
              <a:t>마스터 제목 스타일 편집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5202944"/>
            <a:ext cx="5143500" cy="2391656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ko-KR" altLang="en-US" smtClean="0"/>
              <a:t>마스터 부제목 스타일 편집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1A08C6-1D72-498F-9770-C621073AC36E}" type="datetimeFigureOut">
              <a:rPr lang="ko-KR" altLang="en-US" smtClean="0"/>
              <a:t>2020-01-11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A28D84-74CB-410A-9701-535DF5BFDA9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471997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1A08C6-1D72-498F-9770-C621073AC36E}" type="datetimeFigureOut">
              <a:rPr lang="ko-KR" altLang="en-US" smtClean="0"/>
              <a:t>2020-01-11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A28D84-74CB-410A-9701-535DF5BFDA9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501221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527403"/>
            <a:ext cx="1478756" cy="8394877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527403"/>
            <a:ext cx="4350544" cy="8394877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1A08C6-1D72-498F-9770-C621073AC36E}" type="datetimeFigureOut">
              <a:rPr lang="ko-KR" altLang="en-US" smtClean="0"/>
              <a:t>2020-01-11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A28D84-74CB-410A-9701-535DF5BFDA9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536198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1A08C6-1D72-498F-9770-C621073AC36E}" type="datetimeFigureOut">
              <a:rPr lang="ko-KR" altLang="en-US" smtClean="0"/>
              <a:t>2020-01-11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A28D84-74CB-410A-9701-535DF5BFDA9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717605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2469624"/>
            <a:ext cx="5915025" cy="4120620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ko-KR" altLang="en-US" smtClean="0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6629226"/>
            <a:ext cx="5915025" cy="216693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1A08C6-1D72-498F-9770-C621073AC36E}" type="datetimeFigureOut">
              <a:rPr lang="ko-KR" altLang="en-US" smtClean="0"/>
              <a:t>2020-01-11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A28D84-74CB-410A-9701-535DF5BFDA9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916410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2637014"/>
            <a:ext cx="2914650" cy="6285266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2637014"/>
            <a:ext cx="2914650" cy="6285266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1A08C6-1D72-498F-9770-C621073AC36E}" type="datetimeFigureOut">
              <a:rPr lang="ko-KR" altLang="en-US" smtClean="0"/>
              <a:t>2020-01-11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A28D84-74CB-410A-9701-535DF5BFDA9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835659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527405"/>
            <a:ext cx="5915025" cy="1914702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2428347"/>
            <a:ext cx="2901255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3618442"/>
            <a:ext cx="2901255" cy="5322183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2428347"/>
            <a:ext cx="2915543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3618442"/>
            <a:ext cx="2915543" cy="5322183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1A08C6-1D72-498F-9770-C621073AC36E}" type="datetimeFigureOut">
              <a:rPr lang="ko-KR" altLang="en-US" smtClean="0"/>
              <a:t>2020-01-11</a:t>
            </a:fld>
            <a:endParaRPr lang="ko-KR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A28D84-74CB-410A-9701-535DF5BFDA9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212551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1A08C6-1D72-498F-9770-C621073AC36E}" type="datetimeFigureOut">
              <a:rPr lang="ko-KR" altLang="en-US" smtClean="0"/>
              <a:t>2020-01-11</a:t>
            </a:fld>
            <a:endParaRPr lang="ko-KR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A28D84-74CB-410A-9701-535DF5BFDA9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906009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1A08C6-1D72-498F-9770-C621073AC36E}" type="datetimeFigureOut">
              <a:rPr lang="ko-KR" altLang="en-US" smtClean="0"/>
              <a:t>2020-01-11</a:t>
            </a:fld>
            <a:endParaRPr lang="ko-KR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A28D84-74CB-410A-9701-535DF5BFDA9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947997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ko-KR" altLang="en-US" smtClean="0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1426283"/>
            <a:ext cx="3471863" cy="7039681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1A08C6-1D72-498F-9770-C621073AC36E}" type="datetimeFigureOut">
              <a:rPr lang="ko-KR" altLang="en-US" smtClean="0"/>
              <a:t>2020-01-11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A28D84-74CB-410A-9701-535DF5BFDA9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183877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ko-KR" altLang="en-US" smtClean="0"/>
              <a:t>마스터 제목 스타일 편집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1426283"/>
            <a:ext cx="3471863" cy="7039681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ko-KR" altLang="en-US" smtClean="0"/>
              <a:t>그림을 추가하려면 아이콘을 클릭하십시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1A08C6-1D72-498F-9770-C621073AC36E}" type="datetimeFigureOut">
              <a:rPr lang="ko-KR" altLang="en-US" smtClean="0"/>
              <a:t>2020-01-11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A28D84-74CB-410A-9701-535DF5BFDA9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713342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527405"/>
            <a:ext cx="5915025" cy="1914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2637014"/>
            <a:ext cx="5915025" cy="62852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21A08C6-1D72-498F-9770-C621073AC36E}" type="datetimeFigureOut">
              <a:rPr lang="ko-KR" altLang="en-US" smtClean="0"/>
              <a:t>2020-01-11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9181397"/>
            <a:ext cx="2314575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A28D84-74CB-410A-9701-535DF5BFDA9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618053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685800" rtl="0" eaLnBrk="1" latinLnBrk="1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1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1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1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1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1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1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1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1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1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1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1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1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1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1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1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1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1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1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.xml"/><Relationship Id="rId6" Type="http://schemas.openxmlformats.org/officeDocument/2006/relationships/image" Target="../media/image16.pn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6" Type="http://schemas.openxmlformats.org/officeDocument/2006/relationships/image" Target="../media/image3.emf"/><Relationship Id="rId5" Type="http://schemas.openxmlformats.org/officeDocument/2006/relationships/image" Target="../media/image7.png"/><Relationship Id="rId4" Type="http://schemas.openxmlformats.org/officeDocument/2006/relationships/image" Target="../media/image6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2.jpeg"/><Relationship Id="rId7" Type="http://schemas.openxmlformats.org/officeDocument/2006/relationships/image" Target="../media/image9.emf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6" Type="http://schemas.openxmlformats.org/officeDocument/2006/relationships/image" Target="../media/image8.jp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6" Type="http://schemas.openxmlformats.org/officeDocument/2006/relationships/image" Target="../media/image10.pn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2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Relationship Id="rId6" Type="http://schemas.openxmlformats.org/officeDocument/2006/relationships/image" Target="../media/image11.pn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Relationship Id="rId6" Type="http://schemas.openxmlformats.org/officeDocument/2006/relationships/image" Target="../media/image13.pn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Relationship Id="rId6" Type="http://schemas.openxmlformats.org/officeDocument/2006/relationships/image" Target="../media/image14.pn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Relationship Id="rId5" Type="http://schemas.openxmlformats.org/officeDocument/2006/relationships/image" Target="../media/image4.png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.xml"/><Relationship Id="rId6" Type="http://schemas.openxmlformats.org/officeDocument/2006/relationships/image" Target="../media/image4.png"/><Relationship Id="rId5" Type="http://schemas.openxmlformats.org/officeDocument/2006/relationships/image" Target="../media/image15.png"/><Relationship Id="rId4" Type="http://schemas.openxmlformats.org/officeDocument/2006/relationships/image" Target="../media/image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직사각형 25"/>
          <p:cNvSpPr/>
          <p:nvPr/>
        </p:nvSpPr>
        <p:spPr>
          <a:xfrm>
            <a:off x="-1" y="1"/>
            <a:ext cx="6858001" cy="59670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7" name="Text Box 21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8830" y="657670"/>
            <a:ext cx="340099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b">
            <a:spAutoFit/>
          </a:bodyPr>
          <a:lstStyle>
            <a:lvl1pPr defTabSz="762000" eaLnBrk="0" hangingPunct="0"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defTabSz="762000" eaLnBrk="0" hangingPunct="0"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defTabSz="762000" eaLnBrk="0" hangingPunct="0"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defTabSz="762000" eaLnBrk="0" hangingPunct="0"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defTabSz="762000" eaLnBrk="0" hangingPunct="0"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latinLnBrk="0" hangingPunct="1">
              <a:spcBef>
                <a:spcPct val="50000"/>
              </a:spcBef>
            </a:pPr>
            <a:r>
              <a:rPr lang="en-US" altLang="ko-KR" sz="18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CA(Korea Air Cleaning Association)</a:t>
            </a:r>
            <a:endParaRPr lang="ko-KR" altLang="en-US" sz="1800" b="1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pic>
        <p:nvPicPr>
          <p:cNvPr id="32" name="그림 3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0099" y="2478451"/>
            <a:ext cx="5199143" cy="7200000"/>
          </a:xfrm>
          <a:prstGeom prst="rect">
            <a:avLst/>
          </a:prstGeom>
        </p:spPr>
      </p:pic>
      <p:pic>
        <p:nvPicPr>
          <p:cNvPr id="38" name="그림 3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996" y="661136"/>
            <a:ext cx="1109887" cy="1726614"/>
          </a:xfrm>
          <a:prstGeom prst="rect">
            <a:avLst/>
          </a:prstGeom>
        </p:spPr>
      </p:pic>
      <p:graphicFrame>
        <p:nvGraphicFramePr>
          <p:cNvPr id="39" name="표 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7779327"/>
              </p:ext>
            </p:extLst>
          </p:nvPr>
        </p:nvGraphicFramePr>
        <p:xfrm>
          <a:off x="178831" y="1186131"/>
          <a:ext cx="4468017" cy="11018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28226"/>
                <a:gridCol w="2042823"/>
                <a:gridCol w="995860"/>
                <a:gridCol w="801108"/>
              </a:tblGrid>
              <a:tr h="39348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ategory</a:t>
                      </a:r>
                      <a:endParaRPr lang="ko-KR" altLang="en-US" sz="1000" b="1" baseline="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Test Content</a:t>
                      </a:r>
                      <a:endParaRPr lang="ko-KR" altLang="en-US" sz="1000" b="1" baseline="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Test Result</a:t>
                      </a:r>
                      <a:endParaRPr lang="ko-KR" altLang="en-US" sz="1000" b="1" baseline="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3612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Test </a:t>
                      </a:r>
                    </a:p>
                    <a:p>
                      <a:pPr marL="0" marR="0" indent="0" algn="ctr" defTabSz="913612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Organizat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70833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Filter Test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Reduce of 5 </a:t>
                      </a:r>
                      <a:r>
                        <a:rPr lang="en-US" altLang="ko-KR" sz="1000" baseline="0" dirty="0" smtClean="0">
                          <a:effectLst/>
                          <a:latin typeface="+mn-lt"/>
                          <a:ea typeface="+mn-ea"/>
                        </a:rPr>
                        <a:t>h</a:t>
                      </a:r>
                      <a:r>
                        <a:rPr lang="en-US" altLang="ko-KR" sz="1000" dirty="0" smtClean="0">
                          <a:effectLst/>
                        </a:rPr>
                        <a:t>azardous gas</a:t>
                      </a:r>
                    </a:p>
                    <a:p>
                      <a:pPr marL="0" marR="0" lvl="0" indent="0" algn="ctr" defTabSz="6858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Ammonia, acetic acid, acetaldehyde, toluene, formaldehyde) </a:t>
                      </a:r>
                      <a:endParaRPr lang="en-US" altLang="ko-KR" sz="1000" baseline="0" dirty="0" smtClean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Overall 99%</a:t>
                      </a:r>
                    </a:p>
                    <a:p>
                      <a:pPr algn="ctr" latinLnBrk="1"/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elimination</a:t>
                      </a:r>
                      <a:endParaRPr lang="ko-KR" altLang="en-US" sz="1000" baseline="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000" baseline="0" dirty="0" smtClean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pic>
        <p:nvPicPr>
          <p:cNvPr id="42" name="그림 4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61435" y="1650991"/>
            <a:ext cx="569781" cy="576000"/>
          </a:xfrm>
          <a:prstGeom prst="rect">
            <a:avLst/>
          </a:prstGeom>
        </p:spPr>
      </p:pic>
      <p:pic>
        <p:nvPicPr>
          <p:cNvPr id="43" name="그림 4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28263" y="144233"/>
            <a:ext cx="1810987" cy="308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02305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Box 21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8830" y="657670"/>
            <a:ext cx="242085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b">
            <a:spAutoFit/>
          </a:bodyPr>
          <a:lstStyle>
            <a:lvl1pPr defTabSz="762000" eaLnBrk="0" hangingPunct="0"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defTabSz="762000" eaLnBrk="0" hangingPunct="0"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defTabSz="762000" eaLnBrk="0" hangingPunct="0"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defTabSz="762000" eaLnBrk="0" hangingPunct="0"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defTabSz="762000" eaLnBrk="0" hangingPunct="0"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ko-KR" sz="1800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CARBON </a:t>
            </a:r>
            <a:r>
              <a:rPr lang="en-US" altLang="ko-KR" sz="18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TRUST(British)</a:t>
            </a:r>
            <a:endParaRPr lang="ko-KR" altLang="en-US" sz="1800" b="1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graphicFrame>
        <p:nvGraphicFramePr>
          <p:cNvPr id="40" name="표 3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2735372"/>
              </p:ext>
            </p:extLst>
          </p:nvPr>
        </p:nvGraphicFramePr>
        <p:xfrm>
          <a:off x="178831" y="1186131"/>
          <a:ext cx="4468017" cy="11018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28226"/>
                <a:gridCol w="2042823"/>
                <a:gridCol w="995860"/>
                <a:gridCol w="801108"/>
              </a:tblGrid>
              <a:tr h="39348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ategory</a:t>
                      </a:r>
                      <a:endParaRPr lang="ko-KR" altLang="en-US" sz="1000" b="1" baseline="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Test Content</a:t>
                      </a:r>
                      <a:endParaRPr lang="ko-KR" altLang="en-US" sz="1000" b="1" baseline="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Test Result</a:t>
                      </a:r>
                      <a:endParaRPr lang="ko-KR" altLang="en-US" sz="1000" b="1" baseline="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3612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Test </a:t>
                      </a:r>
                    </a:p>
                    <a:p>
                      <a:pPr marL="0" marR="0" indent="0" algn="ctr" defTabSz="913612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Organizat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70833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arbon</a:t>
                      </a:r>
                    </a:p>
                    <a:p>
                      <a:pPr algn="ctr" latinLnBrk="1"/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Trust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ustainability &amp; carbon reduction</a:t>
                      </a:r>
                    </a:p>
                    <a:p>
                      <a:pPr marL="0" marR="0" lvl="0" indent="0" algn="ctr" defTabSz="6858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for Busines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ertified</a:t>
                      </a:r>
                      <a:endParaRPr lang="ko-KR" altLang="en-US" sz="1000" baseline="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ARBON</a:t>
                      </a:r>
                    </a:p>
                    <a:p>
                      <a:pPr algn="ctr" latinLnBrk="1"/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TRUS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grpSp>
        <p:nvGrpSpPr>
          <p:cNvPr id="9" name="그룹 8"/>
          <p:cNvGrpSpPr/>
          <p:nvPr/>
        </p:nvGrpSpPr>
        <p:grpSpPr>
          <a:xfrm>
            <a:off x="4675996" y="660014"/>
            <a:ext cx="2176589" cy="1772808"/>
            <a:chOff x="-4597235" y="0"/>
            <a:chExt cx="12487608" cy="10171024"/>
          </a:xfrm>
        </p:grpSpPr>
        <p:pic>
          <p:nvPicPr>
            <p:cNvPr id="10" name="그림 9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597235" y="0"/>
              <a:ext cx="6367688" cy="9906000"/>
            </a:xfrm>
            <a:prstGeom prst="rect">
              <a:avLst/>
            </a:prstGeom>
          </p:spPr>
        </p:pic>
        <p:pic>
          <p:nvPicPr>
            <p:cNvPr id="11" name="그림 10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3230613"/>
              <a:ext cx="4461374" cy="6940411"/>
            </a:xfrm>
            <a:prstGeom prst="rect">
              <a:avLst/>
            </a:prstGeom>
          </p:spPr>
        </p:pic>
        <p:pic>
          <p:nvPicPr>
            <p:cNvPr id="12" name="그림 11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28999" y="3230613"/>
              <a:ext cx="4461374" cy="6940411"/>
            </a:xfrm>
            <a:prstGeom prst="rect">
              <a:avLst/>
            </a:prstGeom>
          </p:spPr>
        </p:pic>
      </p:grpSp>
      <p:pic>
        <p:nvPicPr>
          <p:cNvPr id="2" name="그림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4926" y="2559754"/>
            <a:ext cx="4988149" cy="7138214"/>
          </a:xfrm>
          <a:prstGeom prst="rect">
            <a:avLst/>
          </a:prstGeom>
        </p:spPr>
      </p:pic>
      <p:sp>
        <p:nvSpPr>
          <p:cNvPr id="14" name="직사각형 13"/>
          <p:cNvSpPr/>
          <p:nvPr/>
        </p:nvSpPr>
        <p:spPr>
          <a:xfrm>
            <a:off x="-1" y="1"/>
            <a:ext cx="6858001" cy="59670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15" name="그림 14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28263" y="144233"/>
            <a:ext cx="1810987" cy="308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1636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Box 21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8830" y="657670"/>
            <a:ext cx="340099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b">
            <a:spAutoFit/>
          </a:bodyPr>
          <a:lstStyle>
            <a:lvl1pPr defTabSz="762000" eaLnBrk="0" hangingPunct="0"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defTabSz="762000" eaLnBrk="0" hangingPunct="0"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defTabSz="762000" eaLnBrk="0" hangingPunct="0"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defTabSz="762000" eaLnBrk="0" hangingPunct="0"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defTabSz="762000" eaLnBrk="0" hangingPunct="0"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latinLnBrk="0" hangingPunct="1">
              <a:spcBef>
                <a:spcPct val="50000"/>
              </a:spcBef>
            </a:pPr>
            <a:r>
              <a:rPr lang="en-US" altLang="ko-KR" sz="18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CA(Korea Air Cleaning Association)</a:t>
            </a:r>
            <a:endParaRPr lang="ko-KR" altLang="en-US" sz="1800" b="1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grpSp>
        <p:nvGrpSpPr>
          <p:cNvPr id="37" name="그룹 36"/>
          <p:cNvGrpSpPr/>
          <p:nvPr/>
        </p:nvGrpSpPr>
        <p:grpSpPr>
          <a:xfrm>
            <a:off x="5477294" y="1224232"/>
            <a:ext cx="1375291" cy="1209713"/>
            <a:chOff x="0" y="3230613"/>
            <a:chExt cx="7890373" cy="6940411"/>
          </a:xfrm>
        </p:grpSpPr>
        <p:pic>
          <p:nvPicPr>
            <p:cNvPr id="38" name="그림 3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3230613"/>
              <a:ext cx="4461374" cy="6940411"/>
            </a:xfrm>
            <a:prstGeom prst="rect">
              <a:avLst/>
            </a:prstGeom>
          </p:spPr>
        </p:pic>
        <p:pic>
          <p:nvPicPr>
            <p:cNvPr id="39" name="그림 3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28999" y="3230613"/>
              <a:ext cx="4461374" cy="6940411"/>
            </a:xfrm>
            <a:prstGeom prst="rect">
              <a:avLst/>
            </a:prstGeom>
          </p:spPr>
        </p:pic>
      </p:grpSp>
      <p:graphicFrame>
        <p:nvGraphicFramePr>
          <p:cNvPr id="40" name="표 3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4350596"/>
              </p:ext>
            </p:extLst>
          </p:nvPr>
        </p:nvGraphicFramePr>
        <p:xfrm>
          <a:off x="178831" y="1186131"/>
          <a:ext cx="4468017" cy="11018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28226"/>
                <a:gridCol w="2042823"/>
                <a:gridCol w="995860"/>
                <a:gridCol w="801108"/>
              </a:tblGrid>
              <a:tr h="39348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ategory</a:t>
                      </a:r>
                      <a:endParaRPr lang="ko-KR" altLang="en-US" sz="1000" b="1" baseline="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Test Content</a:t>
                      </a:r>
                      <a:endParaRPr lang="ko-KR" altLang="en-US" sz="1000" b="1" baseline="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Test Result</a:t>
                      </a:r>
                      <a:endParaRPr lang="ko-KR" altLang="en-US" sz="1000" b="1" baseline="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3612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Test </a:t>
                      </a:r>
                    </a:p>
                    <a:p>
                      <a:pPr marL="0" marR="0" indent="0" algn="ctr" defTabSz="913612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Organizat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70833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Filter Test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Reduce of 5 </a:t>
                      </a:r>
                      <a:r>
                        <a:rPr lang="en-US" altLang="ko-KR" sz="1000" baseline="0" dirty="0" smtClean="0">
                          <a:effectLst/>
                          <a:latin typeface="+mn-lt"/>
                          <a:ea typeface="+mn-ea"/>
                        </a:rPr>
                        <a:t>h</a:t>
                      </a:r>
                      <a:r>
                        <a:rPr lang="en-US" altLang="ko-KR" sz="1000" dirty="0" smtClean="0">
                          <a:effectLst/>
                        </a:rPr>
                        <a:t>azardous gas</a:t>
                      </a:r>
                    </a:p>
                    <a:p>
                      <a:pPr marL="0" marR="0" lvl="0" indent="0" algn="ctr" defTabSz="6858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Ammonia, acetic acid, acetaldehyde, toluene, formaldehyde) </a:t>
                      </a:r>
                      <a:endParaRPr lang="en-US" altLang="ko-KR" sz="1000" baseline="0" dirty="0" smtClean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Overall 95%</a:t>
                      </a:r>
                    </a:p>
                    <a:p>
                      <a:pPr algn="ctr" latinLnBrk="1"/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elimination</a:t>
                      </a:r>
                      <a:endParaRPr lang="ko-KR" altLang="en-US" sz="1000" baseline="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000" baseline="0" dirty="0" smtClean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pic>
        <p:nvPicPr>
          <p:cNvPr id="42" name="그림 4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9769" y="2478451"/>
            <a:ext cx="5138462" cy="7200000"/>
          </a:xfrm>
          <a:prstGeom prst="rect">
            <a:avLst/>
          </a:prstGeom>
        </p:spPr>
      </p:pic>
      <p:pic>
        <p:nvPicPr>
          <p:cNvPr id="43" name="그림 4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61435" y="1650991"/>
            <a:ext cx="569781" cy="576000"/>
          </a:xfrm>
          <a:prstGeom prst="rect">
            <a:avLst/>
          </a:prstGeom>
        </p:spPr>
      </p:pic>
      <p:sp>
        <p:nvSpPr>
          <p:cNvPr id="44" name="직사각형 43"/>
          <p:cNvSpPr/>
          <p:nvPr/>
        </p:nvSpPr>
        <p:spPr>
          <a:xfrm>
            <a:off x="-1" y="1"/>
            <a:ext cx="6858001" cy="59670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45" name="그림 44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28263" y="144233"/>
            <a:ext cx="1810987" cy="308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Box 21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8830" y="657670"/>
            <a:ext cx="397281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b">
            <a:spAutoFit/>
          </a:bodyPr>
          <a:lstStyle>
            <a:lvl1pPr defTabSz="762000" eaLnBrk="0" hangingPunct="0"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defTabSz="762000" eaLnBrk="0" hangingPunct="0"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defTabSz="762000" eaLnBrk="0" hangingPunct="0"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defTabSz="762000" eaLnBrk="0" hangingPunct="0"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defTabSz="762000" eaLnBrk="0" hangingPunct="0"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ko-KR" sz="18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KAF(Korea Asthma </a:t>
            </a:r>
            <a:r>
              <a:rPr lang="en-US" altLang="ko-KR" sz="1800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&amp; Allergy </a:t>
            </a:r>
            <a:r>
              <a:rPr lang="en-US" altLang="ko-KR" sz="18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Association)</a:t>
            </a:r>
            <a:endParaRPr lang="ko-KR" altLang="en-US" sz="1800" b="1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grpSp>
        <p:nvGrpSpPr>
          <p:cNvPr id="10" name="그룹 9"/>
          <p:cNvGrpSpPr/>
          <p:nvPr/>
        </p:nvGrpSpPr>
        <p:grpSpPr>
          <a:xfrm>
            <a:off x="4675996" y="660014"/>
            <a:ext cx="2176589" cy="1772808"/>
            <a:chOff x="-4597235" y="0"/>
            <a:chExt cx="12487608" cy="10171024"/>
          </a:xfrm>
        </p:grpSpPr>
        <p:pic>
          <p:nvPicPr>
            <p:cNvPr id="7" name="그림 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597235" y="0"/>
              <a:ext cx="6367688" cy="9906000"/>
            </a:xfrm>
            <a:prstGeom prst="rect">
              <a:avLst/>
            </a:prstGeom>
          </p:spPr>
        </p:pic>
        <p:pic>
          <p:nvPicPr>
            <p:cNvPr id="8" name="그림 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3230613"/>
              <a:ext cx="4461374" cy="6940411"/>
            </a:xfrm>
            <a:prstGeom prst="rect">
              <a:avLst/>
            </a:prstGeom>
          </p:spPr>
        </p:pic>
        <p:pic>
          <p:nvPicPr>
            <p:cNvPr id="9" name="그림 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28999" y="3230613"/>
              <a:ext cx="4461374" cy="6940411"/>
            </a:xfrm>
            <a:prstGeom prst="rect">
              <a:avLst/>
            </a:prstGeom>
          </p:spPr>
        </p:pic>
      </p:grpSp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9941252"/>
              </p:ext>
            </p:extLst>
          </p:nvPr>
        </p:nvGraphicFramePr>
        <p:xfrm>
          <a:off x="178831" y="1185009"/>
          <a:ext cx="4468017" cy="11018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28226"/>
                <a:gridCol w="2042823"/>
                <a:gridCol w="995860"/>
                <a:gridCol w="801108"/>
              </a:tblGrid>
              <a:tr h="39348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ategory</a:t>
                      </a:r>
                      <a:endParaRPr lang="ko-KR" altLang="en-US" sz="1000" b="1" baseline="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Test Content</a:t>
                      </a:r>
                      <a:endParaRPr lang="ko-KR" altLang="en-US" sz="1000" b="1" baseline="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Test Result</a:t>
                      </a:r>
                      <a:endParaRPr lang="ko-KR" altLang="en-US" sz="1000" b="1" baseline="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3612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Test </a:t>
                      </a:r>
                    </a:p>
                    <a:p>
                      <a:pPr marL="0" marR="0" indent="0" algn="ctr" defTabSz="913612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Organizat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70833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Filter Test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Removal rate of dust including allerge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Overall 99%</a:t>
                      </a:r>
                    </a:p>
                    <a:p>
                      <a:pPr algn="ctr" latinLnBrk="1"/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elimination</a:t>
                      </a:r>
                      <a:endParaRPr lang="ko-KR" altLang="en-US" sz="1000" baseline="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000" baseline="0" dirty="0" smtClean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pic>
        <p:nvPicPr>
          <p:cNvPr id="3" name="그림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4645" y="2544635"/>
            <a:ext cx="5088711" cy="7198066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88993" y="1647589"/>
            <a:ext cx="511748" cy="576000"/>
          </a:xfrm>
          <a:prstGeom prst="rect">
            <a:avLst/>
          </a:prstGeom>
        </p:spPr>
      </p:pic>
      <p:sp>
        <p:nvSpPr>
          <p:cNvPr id="25" name="직사각형 24"/>
          <p:cNvSpPr/>
          <p:nvPr/>
        </p:nvSpPr>
        <p:spPr>
          <a:xfrm>
            <a:off x="-1" y="1"/>
            <a:ext cx="6858001" cy="59670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26" name="그림 25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28263" y="144233"/>
            <a:ext cx="1810987" cy="308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3362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Box 21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8830" y="657670"/>
            <a:ext cx="318343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b">
            <a:spAutoFit/>
          </a:bodyPr>
          <a:lstStyle>
            <a:lvl1pPr defTabSz="762000" eaLnBrk="0" hangingPunct="0"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defTabSz="762000" eaLnBrk="0" hangingPunct="0"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defTabSz="762000" eaLnBrk="0" hangingPunct="0"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defTabSz="762000" eaLnBrk="0" hangingPunct="0"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defTabSz="762000" eaLnBrk="0" hangingPunct="0"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latinLnBrk="0" hangingPunct="1">
              <a:spcBef>
                <a:spcPct val="50000"/>
              </a:spcBef>
            </a:pPr>
            <a:r>
              <a:rPr lang="en-US" altLang="ko-KR" sz="18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BAF(British Allergy Foundation)</a:t>
            </a:r>
            <a:endParaRPr lang="ko-KR" altLang="en-US" sz="1800" b="1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grpSp>
        <p:nvGrpSpPr>
          <p:cNvPr id="10" name="그룹 9"/>
          <p:cNvGrpSpPr/>
          <p:nvPr/>
        </p:nvGrpSpPr>
        <p:grpSpPr>
          <a:xfrm>
            <a:off x="4675996" y="660014"/>
            <a:ext cx="2176589" cy="1772808"/>
            <a:chOff x="-4597235" y="0"/>
            <a:chExt cx="12487608" cy="10171024"/>
          </a:xfrm>
        </p:grpSpPr>
        <p:pic>
          <p:nvPicPr>
            <p:cNvPr id="7" name="그림 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597235" y="0"/>
              <a:ext cx="6367688" cy="9906000"/>
            </a:xfrm>
            <a:prstGeom prst="rect">
              <a:avLst/>
            </a:prstGeom>
          </p:spPr>
        </p:pic>
        <p:pic>
          <p:nvPicPr>
            <p:cNvPr id="8" name="그림 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3230613"/>
              <a:ext cx="4461374" cy="6940411"/>
            </a:xfrm>
            <a:prstGeom prst="rect">
              <a:avLst/>
            </a:prstGeom>
          </p:spPr>
        </p:pic>
        <p:pic>
          <p:nvPicPr>
            <p:cNvPr id="9" name="그림 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28999" y="3230613"/>
              <a:ext cx="4461374" cy="6940411"/>
            </a:xfrm>
            <a:prstGeom prst="rect">
              <a:avLst/>
            </a:prstGeom>
          </p:spPr>
        </p:pic>
      </p:grpSp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2132783"/>
              </p:ext>
            </p:extLst>
          </p:nvPr>
        </p:nvGraphicFramePr>
        <p:xfrm>
          <a:off x="178831" y="1185009"/>
          <a:ext cx="4468017" cy="11018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28226"/>
                <a:gridCol w="2042823"/>
                <a:gridCol w="995860"/>
                <a:gridCol w="801108"/>
              </a:tblGrid>
              <a:tr h="39348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ategory</a:t>
                      </a:r>
                      <a:endParaRPr lang="ko-KR" altLang="en-US" sz="1000" b="1" baseline="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Test Content</a:t>
                      </a:r>
                      <a:endParaRPr lang="ko-KR" altLang="en-US" sz="1000" b="1" baseline="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Test Result</a:t>
                      </a:r>
                      <a:endParaRPr lang="ko-KR" altLang="en-US" sz="1000" b="1" baseline="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3612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Test </a:t>
                      </a:r>
                    </a:p>
                    <a:p>
                      <a:pPr marL="0" marR="0" indent="0" algn="ctr" defTabSz="913612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Organizat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70833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Filter Test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Reduce of allergy causing</a:t>
                      </a:r>
                    </a:p>
                    <a:p>
                      <a:pPr marL="0" marR="0" lvl="0" indent="0" algn="ctr" defTabSz="6858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ubstances through Dust filte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ertified</a:t>
                      </a:r>
                      <a:endParaRPr lang="ko-KR" altLang="en-US" sz="1000" baseline="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BAF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pic>
        <p:nvPicPr>
          <p:cNvPr id="3" name="그림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22264" y="2470236"/>
            <a:ext cx="5013472" cy="7257964"/>
          </a:xfrm>
          <a:prstGeom prst="rect">
            <a:avLst/>
          </a:prstGeom>
        </p:spPr>
      </p:pic>
      <p:sp>
        <p:nvSpPr>
          <p:cNvPr id="12" name="직사각형 11"/>
          <p:cNvSpPr/>
          <p:nvPr/>
        </p:nvSpPr>
        <p:spPr>
          <a:xfrm>
            <a:off x="-1" y="1"/>
            <a:ext cx="6858001" cy="59670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13" name="그림 1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28263" y="144233"/>
            <a:ext cx="1810987" cy="308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6599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Box 21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8830" y="657670"/>
            <a:ext cx="456560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b">
            <a:spAutoFit/>
          </a:bodyPr>
          <a:lstStyle>
            <a:lvl1pPr defTabSz="762000" eaLnBrk="0" hangingPunct="0"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defTabSz="762000" eaLnBrk="0" hangingPunct="0"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defTabSz="762000" eaLnBrk="0" hangingPunct="0"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defTabSz="762000" eaLnBrk="0" hangingPunct="0"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defTabSz="762000" eaLnBrk="0" hangingPunct="0"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latinLnBrk="0" hangingPunct="1">
              <a:spcBef>
                <a:spcPct val="50000"/>
              </a:spcBef>
            </a:pPr>
            <a:r>
              <a:rPr lang="en-US" altLang="ko-KR" sz="18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AAFA(Asthma &amp; Allergy Foundation of America)</a:t>
            </a:r>
            <a:endParaRPr lang="ko-KR" altLang="en-US" sz="1800" b="1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grpSp>
        <p:nvGrpSpPr>
          <p:cNvPr id="10" name="그룹 9"/>
          <p:cNvGrpSpPr/>
          <p:nvPr/>
        </p:nvGrpSpPr>
        <p:grpSpPr>
          <a:xfrm>
            <a:off x="4675996" y="660014"/>
            <a:ext cx="2176589" cy="1772808"/>
            <a:chOff x="-4597235" y="0"/>
            <a:chExt cx="12487608" cy="10171024"/>
          </a:xfrm>
        </p:grpSpPr>
        <p:pic>
          <p:nvPicPr>
            <p:cNvPr id="7" name="그림 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597235" y="0"/>
              <a:ext cx="6367688" cy="9906000"/>
            </a:xfrm>
            <a:prstGeom prst="rect">
              <a:avLst/>
            </a:prstGeom>
          </p:spPr>
        </p:pic>
        <p:pic>
          <p:nvPicPr>
            <p:cNvPr id="8" name="그림 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3230613"/>
              <a:ext cx="4461374" cy="6940411"/>
            </a:xfrm>
            <a:prstGeom prst="rect">
              <a:avLst/>
            </a:prstGeom>
          </p:spPr>
        </p:pic>
        <p:pic>
          <p:nvPicPr>
            <p:cNvPr id="9" name="그림 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28999" y="3230613"/>
              <a:ext cx="4461374" cy="6940411"/>
            </a:xfrm>
            <a:prstGeom prst="rect">
              <a:avLst/>
            </a:prstGeom>
          </p:spPr>
        </p:pic>
      </p:grpSp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2654542"/>
              </p:ext>
            </p:extLst>
          </p:nvPr>
        </p:nvGraphicFramePr>
        <p:xfrm>
          <a:off x="178831" y="1185009"/>
          <a:ext cx="4468017" cy="11018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28226"/>
                <a:gridCol w="2042823"/>
                <a:gridCol w="995860"/>
                <a:gridCol w="801108"/>
              </a:tblGrid>
              <a:tr h="39348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ategory</a:t>
                      </a:r>
                      <a:endParaRPr lang="ko-KR" altLang="en-US" sz="1000" b="1" baseline="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Test Content</a:t>
                      </a:r>
                      <a:endParaRPr lang="ko-KR" altLang="en-US" sz="1000" b="1" baseline="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Test Result</a:t>
                      </a:r>
                      <a:endParaRPr lang="ko-KR" altLang="en-US" sz="1000" b="1" baseline="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3612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Test </a:t>
                      </a:r>
                    </a:p>
                    <a:p>
                      <a:pPr marL="0" marR="0" indent="0" algn="ctr" defTabSz="913612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Organizat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70833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Filter Test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Reduce of allergy causing</a:t>
                      </a:r>
                    </a:p>
                    <a:p>
                      <a:pPr marL="0" marR="0" lvl="0" indent="0" algn="ctr" defTabSz="6858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ubstances through Dust filte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ertified</a:t>
                      </a:r>
                      <a:endParaRPr lang="ko-KR" altLang="en-US" sz="1000" baseline="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000" baseline="0" dirty="0" smtClean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pic>
        <p:nvPicPr>
          <p:cNvPr id="2" name="그림 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7451" y="1703209"/>
            <a:ext cx="716810" cy="468000"/>
          </a:xfrm>
          <a:prstGeom prst="rect">
            <a:avLst/>
          </a:prstGeom>
        </p:spPr>
      </p:pic>
      <p:pic>
        <p:nvPicPr>
          <p:cNvPr id="4" name="그림 3"/>
          <p:cNvPicPr>
            <a:picLocks noChangeAspect="1"/>
          </p:cNvPicPr>
          <p:nvPr/>
        </p:nvPicPr>
        <p:blipFill rotWithShape="1">
          <a:blip r:embed="rId7"/>
          <a:srcRect t="577"/>
          <a:stretch/>
        </p:blipFill>
        <p:spPr>
          <a:xfrm>
            <a:off x="813631" y="2540867"/>
            <a:ext cx="5230739" cy="7143829"/>
          </a:xfrm>
          <a:prstGeom prst="rect">
            <a:avLst/>
          </a:prstGeom>
        </p:spPr>
      </p:pic>
      <p:sp>
        <p:nvSpPr>
          <p:cNvPr id="12" name="직사각형 11"/>
          <p:cNvSpPr/>
          <p:nvPr/>
        </p:nvSpPr>
        <p:spPr>
          <a:xfrm>
            <a:off x="-1" y="1"/>
            <a:ext cx="6858001" cy="59670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13" name="그림 12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28263" y="144233"/>
            <a:ext cx="1810987" cy="308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3609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Box 21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8830" y="657670"/>
            <a:ext cx="443608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b">
            <a:spAutoFit/>
          </a:bodyPr>
          <a:lstStyle>
            <a:lvl1pPr defTabSz="762000" eaLnBrk="0" hangingPunct="0"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defTabSz="762000" eaLnBrk="0" hangingPunct="0"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defTabSz="762000" eaLnBrk="0" hangingPunct="0"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defTabSz="762000" eaLnBrk="0" hangingPunct="0"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defTabSz="762000" eaLnBrk="0" hangingPunct="0"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latinLnBrk="0" hangingPunct="1">
              <a:spcBef>
                <a:spcPct val="50000"/>
              </a:spcBef>
            </a:pPr>
            <a:r>
              <a:rPr lang="en-US" altLang="ko-KR" sz="18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ASTMA(Sweden Asthma &amp; Allergy Association)</a:t>
            </a:r>
            <a:endParaRPr lang="ko-KR" altLang="en-US" sz="1800" b="1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grpSp>
        <p:nvGrpSpPr>
          <p:cNvPr id="10" name="그룹 9"/>
          <p:cNvGrpSpPr/>
          <p:nvPr/>
        </p:nvGrpSpPr>
        <p:grpSpPr>
          <a:xfrm>
            <a:off x="4675996" y="660014"/>
            <a:ext cx="2176589" cy="1772808"/>
            <a:chOff x="-4597235" y="0"/>
            <a:chExt cx="12487608" cy="10171024"/>
          </a:xfrm>
        </p:grpSpPr>
        <p:pic>
          <p:nvPicPr>
            <p:cNvPr id="7" name="그림 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597235" y="0"/>
              <a:ext cx="6367688" cy="9906000"/>
            </a:xfrm>
            <a:prstGeom prst="rect">
              <a:avLst/>
            </a:prstGeom>
          </p:spPr>
        </p:pic>
        <p:pic>
          <p:nvPicPr>
            <p:cNvPr id="8" name="그림 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3230613"/>
              <a:ext cx="4461374" cy="6940411"/>
            </a:xfrm>
            <a:prstGeom prst="rect">
              <a:avLst/>
            </a:prstGeom>
          </p:spPr>
        </p:pic>
        <p:pic>
          <p:nvPicPr>
            <p:cNvPr id="9" name="그림 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28999" y="3230613"/>
              <a:ext cx="4461374" cy="6940411"/>
            </a:xfrm>
            <a:prstGeom prst="rect">
              <a:avLst/>
            </a:prstGeom>
          </p:spPr>
        </p:pic>
      </p:grpSp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4704761"/>
              </p:ext>
            </p:extLst>
          </p:nvPr>
        </p:nvGraphicFramePr>
        <p:xfrm>
          <a:off x="178831" y="1185009"/>
          <a:ext cx="4468017" cy="11018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28226"/>
                <a:gridCol w="2042823"/>
                <a:gridCol w="995860"/>
                <a:gridCol w="801108"/>
              </a:tblGrid>
              <a:tr h="39348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ategory</a:t>
                      </a:r>
                      <a:endParaRPr lang="ko-KR" altLang="en-US" sz="1000" b="1" baseline="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Test Content</a:t>
                      </a:r>
                      <a:endParaRPr lang="ko-KR" altLang="en-US" sz="1000" b="1" baseline="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Test Result</a:t>
                      </a:r>
                      <a:endParaRPr lang="ko-KR" altLang="en-US" sz="1000" b="1" baseline="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3612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Test </a:t>
                      </a:r>
                    </a:p>
                    <a:p>
                      <a:pPr marL="0" marR="0" indent="0" algn="ctr" defTabSz="913612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Organizat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70833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Filter Test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Reduce of allergy and asthma causing</a:t>
                      </a:r>
                    </a:p>
                    <a:p>
                      <a:pPr marL="0" marR="0" lvl="0" indent="0" algn="ctr" defTabSz="6858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ubstances through Dust filte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ertified</a:t>
                      </a:r>
                      <a:endParaRPr lang="ko-KR" altLang="en-US" sz="1000" baseline="0" smtClean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ASTM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pic>
        <p:nvPicPr>
          <p:cNvPr id="3" name="그림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2015" y="2544635"/>
            <a:ext cx="5473970" cy="7188916"/>
          </a:xfrm>
          <a:prstGeom prst="rect">
            <a:avLst/>
          </a:prstGeom>
        </p:spPr>
      </p:pic>
      <p:sp>
        <p:nvSpPr>
          <p:cNvPr id="13" name="직사각형 12"/>
          <p:cNvSpPr/>
          <p:nvPr/>
        </p:nvSpPr>
        <p:spPr>
          <a:xfrm>
            <a:off x="-1" y="1"/>
            <a:ext cx="6858001" cy="59670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14" name="그림 1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28263" y="144233"/>
            <a:ext cx="1810987" cy="308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78443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Box 21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8830" y="657670"/>
            <a:ext cx="430944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b">
            <a:spAutoFit/>
          </a:bodyPr>
          <a:lstStyle>
            <a:lvl1pPr defTabSz="762000" eaLnBrk="0" hangingPunct="0"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defTabSz="762000" eaLnBrk="0" hangingPunct="0"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defTabSz="762000" eaLnBrk="0" hangingPunct="0"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defTabSz="762000" eaLnBrk="0" hangingPunct="0"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defTabSz="762000" eaLnBrk="0" hangingPunct="0"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ko-KR" sz="1800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NRC Institute of Immunology FMBA of Russia</a:t>
            </a:r>
            <a:endParaRPr lang="ko-KR" altLang="en-US" sz="1800" b="1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grpSp>
        <p:nvGrpSpPr>
          <p:cNvPr id="10" name="그룹 9"/>
          <p:cNvGrpSpPr/>
          <p:nvPr/>
        </p:nvGrpSpPr>
        <p:grpSpPr>
          <a:xfrm>
            <a:off x="4675996" y="660014"/>
            <a:ext cx="2176589" cy="1772808"/>
            <a:chOff x="-4597235" y="0"/>
            <a:chExt cx="12487608" cy="10171024"/>
          </a:xfrm>
        </p:grpSpPr>
        <p:pic>
          <p:nvPicPr>
            <p:cNvPr id="7" name="그림 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597235" y="0"/>
              <a:ext cx="6367688" cy="9906000"/>
            </a:xfrm>
            <a:prstGeom prst="rect">
              <a:avLst/>
            </a:prstGeom>
          </p:spPr>
        </p:pic>
        <p:pic>
          <p:nvPicPr>
            <p:cNvPr id="8" name="그림 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3230613"/>
              <a:ext cx="4461374" cy="6940411"/>
            </a:xfrm>
            <a:prstGeom prst="rect">
              <a:avLst/>
            </a:prstGeom>
          </p:spPr>
        </p:pic>
        <p:pic>
          <p:nvPicPr>
            <p:cNvPr id="9" name="그림 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28999" y="3230613"/>
              <a:ext cx="4461374" cy="6940411"/>
            </a:xfrm>
            <a:prstGeom prst="rect">
              <a:avLst/>
            </a:prstGeom>
          </p:spPr>
        </p:pic>
      </p:grpSp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238127"/>
              </p:ext>
            </p:extLst>
          </p:nvPr>
        </p:nvGraphicFramePr>
        <p:xfrm>
          <a:off x="178831" y="1185009"/>
          <a:ext cx="4468017" cy="11018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28226"/>
                <a:gridCol w="2042823"/>
                <a:gridCol w="995860"/>
                <a:gridCol w="801108"/>
              </a:tblGrid>
              <a:tr h="39348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ategory</a:t>
                      </a:r>
                      <a:endParaRPr lang="ko-KR" altLang="en-US" sz="1000" b="1" baseline="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Test Content</a:t>
                      </a:r>
                      <a:endParaRPr lang="ko-KR" altLang="en-US" sz="1000" b="1" baseline="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Test Result</a:t>
                      </a:r>
                      <a:endParaRPr lang="ko-KR" altLang="en-US" sz="1000" b="1" baseline="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3612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Test </a:t>
                      </a:r>
                    </a:p>
                    <a:p>
                      <a:pPr marL="0" marR="0" indent="0" algn="ctr" defTabSz="913612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Organizat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70833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Filter Test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Reduce of allergy and asthma causing</a:t>
                      </a:r>
                    </a:p>
                    <a:p>
                      <a:pPr marL="0" marR="0" lvl="0" indent="0" algn="ctr" defTabSz="6858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ubstances through Dust filte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ertified</a:t>
                      </a:r>
                      <a:endParaRPr lang="ko-KR" altLang="en-US" sz="1000" baseline="0" smtClean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Institute of</a:t>
                      </a:r>
                    </a:p>
                    <a:p>
                      <a:pPr algn="ctr" latinLnBrk="1"/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Immunology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pic>
        <p:nvPicPr>
          <p:cNvPr id="14" name="그림 1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16200000">
            <a:off x="347719" y="2907664"/>
            <a:ext cx="6162562" cy="6516732"/>
          </a:xfrm>
          <a:prstGeom prst="rect">
            <a:avLst/>
          </a:prstGeom>
        </p:spPr>
      </p:pic>
      <p:sp>
        <p:nvSpPr>
          <p:cNvPr id="18" name="직사각형 17"/>
          <p:cNvSpPr/>
          <p:nvPr/>
        </p:nvSpPr>
        <p:spPr>
          <a:xfrm>
            <a:off x="-1" y="1"/>
            <a:ext cx="6858001" cy="59670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19" name="그림 1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28263" y="144233"/>
            <a:ext cx="1810987" cy="308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403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그림 3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996" y="661136"/>
            <a:ext cx="1109887" cy="1726614"/>
          </a:xfrm>
          <a:prstGeom prst="rect">
            <a:avLst/>
          </a:prstGeom>
        </p:spPr>
      </p:pic>
      <p:graphicFrame>
        <p:nvGraphicFramePr>
          <p:cNvPr id="39" name="표 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6615583"/>
              </p:ext>
            </p:extLst>
          </p:nvPr>
        </p:nvGraphicFramePr>
        <p:xfrm>
          <a:off x="178831" y="1186131"/>
          <a:ext cx="4468017" cy="11018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28226"/>
                <a:gridCol w="2042823"/>
                <a:gridCol w="995860"/>
                <a:gridCol w="801108"/>
              </a:tblGrid>
              <a:tr h="39348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ategory</a:t>
                      </a:r>
                      <a:endParaRPr lang="ko-KR" altLang="en-US" sz="1000" b="1" baseline="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Test Content</a:t>
                      </a:r>
                      <a:endParaRPr lang="ko-KR" altLang="en-US" sz="1000" b="1" baseline="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Test Result</a:t>
                      </a:r>
                      <a:endParaRPr lang="ko-KR" altLang="en-US" sz="1000" b="1" baseline="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3612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Test </a:t>
                      </a:r>
                    </a:p>
                    <a:p>
                      <a:pPr marL="0" marR="0" indent="0" algn="ctr" defTabSz="913612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Organizat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70833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Filter Test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Reduce of virus and floating bacteri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Overall 99%</a:t>
                      </a:r>
                    </a:p>
                    <a:p>
                      <a:pPr algn="ctr" latinLnBrk="1"/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elimination</a:t>
                      </a:r>
                    </a:p>
                    <a:p>
                      <a:pPr algn="ctr" latinLnBrk="1"/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in 15 minutes</a:t>
                      </a:r>
                      <a:endParaRPr lang="ko-KR" altLang="en-US" sz="1000" baseline="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KITAS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7" name="Text Box 21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8830" y="657670"/>
            <a:ext cx="471853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b">
            <a:spAutoFit/>
          </a:bodyPr>
          <a:lstStyle>
            <a:lvl1pPr defTabSz="762000" eaLnBrk="0" hangingPunct="0"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defTabSz="762000" eaLnBrk="0" hangingPunct="0"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defTabSz="762000" eaLnBrk="0" hangingPunct="0"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defTabSz="762000" eaLnBrk="0" hangingPunct="0"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defTabSz="762000" eaLnBrk="0" hangingPunct="0"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ko-KR" sz="18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KITASO(Institute </a:t>
            </a:r>
            <a:r>
              <a:rPr lang="en-US" altLang="ko-KR" sz="1800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of Environmental </a:t>
            </a:r>
            <a:r>
              <a:rPr lang="en-US" altLang="ko-KR" sz="18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Science </a:t>
            </a:r>
            <a:r>
              <a:rPr lang="en-US" altLang="ko-KR" sz="18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Japan)</a:t>
            </a:r>
            <a:endParaRPr lang="ko-KR" altLang="en-US" sz="1800" b="1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pic>
        <p:nvPicPr>
          <p:cNvPr id="8" name="그림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9000" y="2506455"/>
            <a:ext cx="4800000" cy="7200000"/>
          </a:xfrm>
          <a:prstGeom prst="rect">
            <a:avLst/>
          </a:prstGeom>
        </p:spPr>
      </p:pic>
      <p:sp>
        <p:nvSpPr>
          <p:cNvPr id="9" name="직사각형 8"/>
          <p:cNvSpPr/>
          <p:nvPr/>
        </p:nvSpPr>
        <p:spPr>
          <a:xfrm>
            <a:off x="-1" y="1"/>
            <a:ext cx="6858001" cy="59670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10" name="그림 9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28263" y="144233"/>
            <a:ext cx="1810987" cy="308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1736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그룹 36"/>
          <p:cNvGrpSpPr/>
          <p:nvPr/>
        </p:nvGrpSpPr>
        <p:grpSpPr>
          <a:xfrm>
            <a:off x="5477294" y="1224232"/>
            <a:ext cx="1375291" cy="1209713"/>
            <a:chOff x="0" y="3230613"/>
            <a:chExt cx="7890373" cy="6940411"/>
          </a:xfrm>
        </p:grpSpPr>
        <p:pic>
          <p:nvPicPr>
            <p:cNvPr id="38" name="그림 3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3230613"/>
              <a:ext cx="4461374" cy="6940411"/>
            </a:xfrm>
            <a:prstGeom prst="rect">
              <a:avLst/>
            </a:prstGeom>
          </p:spPr>
        </p:pic>
        <p:pic>
          <p:nvPicPr>
            <p:cNvPr id="39" name="그림 3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28999" y="3230613"/>
              <a:ext cx="4461374" cy="6940411"/>
            </a:xfrm>
            <a:prstGeom prst="rect">
              <a:avLst/>
            </a:prstGeom>
          </p:spPr>
        </p:pic>
      </p:grpSp>
      <p:graphicFrame>
        <p:nvGraphicFramePr>
          <p:cNvPr id="40" name="표 3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5928671"/>
              </p:ext>
            </p:extLst>
          </p:nvPr>
        </p:nvGraphicFramePr>
        <p:xfrm>
          <a:off x="178831" y="1186131"/>
          <a:ext cx="4468017" cy="11018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28226"/>
                <a:gridCol w="2042823"/>
                <a:gridCol w="995860"/>
                <a:gridCol w="801108"/>
              </a:tblGrid>
              <a:tr h="39348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ategory</a:t>
                      </a:r>
                      <a:endParaRPr lang="ko-KR" altLang="en-US" sz="1000" b="1" baseline="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Test Content</a:t>
                      </a:r>
                      <a:endParaRPr lang="ko-KR" altLang="en-US" sz="1000" b="1" baseline="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Test Result</a:t>
                      </a:r>
                      <a:endParaRPr lang="ko-KR" altLang="en-US" sz="1000" b="1" baseline="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3612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Test </a:t>
                      </a:r>
                    </a:p>
                    <a:p>
                      <a:pPr marL="0" marR="0" indent="0" algn="ctr" defTabSz="913612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Organizat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70833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Filter Test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Reduce of virus and floating bacteri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Overall 99%</a:t>
                      </a:r>
                    </a:p>
                    <a:p>
                      <a:pPr algn="ctr" latinLnBrk="1"/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elimination</a:t>
                      </a:r>
                    </a:p>
                    <a:p>
                      <a:pPr algn="ctr" latinLnBrk="1"/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in 20~30 minutes</a:t>
                      </a:r>
                      <a:endParaRPr lang="ko-KR" altLang="en-US" sz="1000" baseline="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KITAS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pic>
        <p:nvPicPr>
          <p:cNvPr id="5" name="그림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29000" y="2506455"/>
            <a:ext cx="4800000" cy="7200000"/>
          </a:xfrm>
          <a:prstGeom prst="rect">
            <a:avLst/>
          </a:prstGeom>
        </p:spPr>
      </p:pic>
      <p:sp>
        <p:nvSpPr>
          <p:cNvPr id="14" name="직사각형 13"/>
          <p:cNvSpPr/>
          <p:nvPr/>
        </p:nvSpPr>
        <p:spPr>
          <a:xfrm>
            <a:off x="-1" y="1"/>
            <a:ext cx="6858001" cy="59670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15" name="그림 1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28263" y="144233"/>
            <a:ext cx="1810987" cy="308244"/>
          </a:xfrm>
          <a:prstGeom prst="rect">
            <a:avLst/>
          </a:prstGeom>
        </p:spPr>
      </p:pic>
      <p:sp>
        <p:nvSpPr>
          <p:cNvPr id="10" name="Text Box 21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8830" y="657670"/>
            <a:ext cx="471853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b">
            <a:spAutoFit/>
          </a:bodyPr>
          <a:lstStyle>
            <a:lvl1pPr defTabSz="762000" eaLnBrk="0" hangingPunct="0"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defTabSz="762000" eaLnBrk="0" hangingPunct="0"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defTabSz="762000" eaLnBrk="0" hangingPunct="0"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defTabSz="762000" eaLnBrk="0" hangingPunct="0"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defTabSz="762000" eaLnBrk="0" hangingPunct="0"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ko-KR" sz="18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KITASO(Institute </a:t>
            </a:r>
            <a:r>
              <a:rPr lang="en-US" altLang="ko-KR" sz="1800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of Environmental </a:t>
            </a:r>
            <a:r>
              <a:rPr lang="en-US" altLang="ko-KR" sz="18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Science </a:t>
            </a:r>
            <a:r>
              <a:rPr lang="en-US" altLang="ko-KR" sz="18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Japan)</a:t>
            </a:r>
            <a:endParaRPr lang="ko-KR" altLang="en-US" sz="1800" b="1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327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ySGGhK3UuB1LkAhWXVD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ySGGhK3UuB1LkAhWXVD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ySGGhK3UuB1LkAhWXV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ySGGhK3UuB1LkAhWXVD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ySGGhK3UuB1LkAhWXVD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ySGGhK3UuB1LkAhWXVD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ySGGhK3UuB1LkAhWXVD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ySGGhK3UuB1LkAhWXVD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ySGGhK3UuB1LkAhWXVD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ySGGhK3UuB1LkAhWXVDw"/>
</p:tagLst>
</file>

<file path=ppt/theme/theme1.xml><?xml version="1.0" encoding="utf-8"?>
<a:theme xmlns:a="http://schemas.openxmlformats.org/drawingml/2006/main" name="Office 테마">
  <a:themeElements>
    <a:clrScheme name="Office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테마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216</TotalTime>
  <Words>279</Words>
  <Application>Microsoft Office PowerPoint</Application>
  <PresentationFormat>A4 용지(210x297mm)</PresentationFormat>
  <Paragraphs>113</Paragraphs>
  <Slides>10</Slides>
  <Notes>0</Notes>
  <HiddenSlides>0</HiddenSlides>
  <MMClips>0</MMClips>
  <ScaleCrop>false</ScaleCrop>
  <HeadingPairs>
    <vt:vector size="6" baseType="variant">
      <vt:variant>
        <vt:lpstr>사용한 글꼴</vt:lpstr>
      </vt:variant>
      <vt:variant>
        <vt:i4>6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10</vt:i4>
      </vt:variant>
    </vt:vector>
  </HeadingPairs>
  <TitlesOfParts>
    <vt:vector size="17" baseType="lpstr">
      <vt:lpstr>LG스마트체 Regular</vt:lpstr>
      <vt:lpstr>맑은 고딕</vt:lpstr>
      <vt:lpstr>Arial</vt:lpstr>
      <vt:lpstr>Arial Narrow</vt:lpstr>
      <vt:lpstr>Calibri</vt:lpstr>
      <vt:lpstr>Calibri Light</vt:lpstr>
      <vt:lpstr>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15nd540</dc:creator>
  <cp:lastModifiedBy>심지은/선임/에어솔루션B2C미주영업팀(jessica.shim@lge.com)</cp:lastModifiedBy>
  <cp:revision>66</cp:revision>
  <dcterms:created xsi:type="dcterms:W3CDTF">2019-02-08T01:57:51Z</dcterms:created>
  <dcterms:modified xsi:type="dcterms:W3CDTF">2020-01-11T14:02:44Z</dcterms:modified>
</cp:coreProperties>
</file>